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18"/>
  </p:notesMasterIdLst>
  <p:handoutMasterIdLst>
    <p:handoutMasterId r:id="rId19"/>
  </p:handoutMasterIdLst>
  <p:sldIdLst>
    <p:sldId id="256" r:id="rId5"/>
    <p:sldId id="268" r:id="rId6"/>
    <p:sldId id="269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72" r:id="rId16"/>
    <p:sldId id="270" r:id="rId17"/>
  </p:sldIdLst>
  <p:sldSz cx="12192000" cy="6858000"/>
  <p:notesSz cx="7023100" cy="9309100"/>
  <p:custShowLst>
    <p:custShow name="Format Guide Workshop" id="0">
      <p:sldLst/>
    </p:custShow>
  </p:custShowLst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CBE9BDF-E0FF-C921-9C0E-9F0D5ABE1D14}" name="Ives, Lawton" initials="LI" userId="S::lawton.ives@nc.gov::005b3264-7b99-46ac-ac38-45875832efd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6EBD"/>
    <a:srgbClr val="013154"/>
    <a:srgbClr val="D7D7D7"/>
    <a:srgbClr val="F46D74"/>
    <a:srgbClr val="E8111C"/>
    <a:srgbClr val="74090E"/>
    <a:srgbClr val="15FF7F"/>
    <a:srgbClr val="00B050"/>
    <a:srgbClr val="00602B"/>
    <a:srgbClr val="FFD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221854-F87B-4686-AF10-BB4A5D61FA4B}" v="11" dt="2025-10-07T14:35:10.7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 varScale="1">
        <p:scale>
          <a:sx n="78" d="100"/>
          <a:sy n="78" d="100"/>
        </p:scale>
        <p:origin x="787" y="4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shburn, Elena" userId="72b2618e-0536-49e4-b0d6-9155b3e6179b" providerId="ADAL" clId="{39684FDD-A70C-4CE2-A125-8E1A74AA15F7}"/>
    <pc:docChg chg="undo custSel addSld delSld modSld sldOrd">
      <pc:chgData name="Ashburn, Elena" userId="72b2618e-0536-49e4-b0d6-9155b3e6179b" providerId="ADAL" clId="{39684FDD-A70C-4CE2-A125-8E1A74AA15F7}" dt="2025-10-09T12:16:17.200" v="2362" actId="20577"/>
      <pc:docMkLst>
        <pc:docMk/>
      </pc:docMkLst>
      <pc:sldChg chg="modSp mod">
        <pc:chgData name="Ashburn, Elena" userId="72b2618e-0536-49e4-b0d6-9155b3e6179b" providerId="ADAL" clId="{39684FDD-A70C-4CE2-A125-8E1A74AA15F7}" dt="2025-09-25T18:41:20.418" v="264" actId="6549"/>
        <pc:sldMkLst>
          <pc:docMk/>
          <pc:sldMk cId="2299842224" sldId="256"/>
        </pc:sldMkLst>
        <pc:spChg chg="mod">
          <ac:chgData name="Ashburn, Elena" userId="72b2618e-0536-49e4-b0d6-9155b3e6179b" providerId="ADAL" clId="{39684FDD-A70C-4CE2-A125-8E1A74AA15F7}" dt="2025-09-24T17:42:12.640" v="85" actId="20577"/>
          <ac:spMkLst>
            <pc:docMk/>
            <pc:sldMk cId="2299842224" sldId="256"/>
            <ac:spMk id="2" creationId="{F88EBCAA-DBE1-4FC9-CCAA-160661A5BD9E}"/>
          </ac:spMkLst>
        </pc:spChg>
        <pc:spChg chg="mod">
          <ac:chgData name="Ashburn, Elena" userId="72b2618e-0536-49e4-b0d6-9155b3e6179b" providerId="ADAL" clId="{39684FDD-A70C-4CE2-A125-8E1A74AA15F7}" dt="2025-09-25T18:41:20.418" v="264" actId="6549"/>
          <ac:spMkLst>
            <pc:docMk/>
            <pc:sldMk cId="2299842224" sldId="256"/>
            <ac:spMk id="3" creationId="{7A8FD54E-B55B-F584-1684-FDA8D392E632}"/>
          </ac:spMkLst>
        </pc:spChg>
        <pc:spChg chg="mod">
          <ac:chgData name="Ashburn, Elena" userId="72b2618e-0536-49e4-b0d6-9155b3e6179b" providerId="ADAL" clId="{39684FDD-A70C-4CE2-A125-8E1A74AA15F7}" dt="2025-09-24T17:42:24.274" v="110" actId="404"/>
          <ac:spMkLst>
            <pc:docMk/>
            <pc:sldMk cId="2299842224" sldId="256"/>
            <ac:spMk id="4" creationId="{CE9E4982-5ED6-E53E-E6B4-1BA3B6062223}"/>
          </ac:spMkLst>
        </pc:spChg>
      </pc:sldChg>
      <pc:sldChg chg="modSp del mod">
        <pc:chgData name="Ashburn, Elena" userId="72b2618e-0536-49e4-b0d6-9155b3e6179b" providerId="ADAL" clId="{39684FDD-A70C-4CE2-A125-8E1A74AA15F7}" dt="2025-10-06T19:55:32.144" v="444" actId="47"/>
        <pc:sldMkLst>
          <pc:docMk/>
          <pc:sldMk cId="582522032" sldId="257"/>
        </pc:sldMkLst>
      </pc:sldChg>
      <pc:sldChg chg="addSp modSp new mod">
        <pc:chgData name="Ashburn, Elena" userId="72b2618e-0536-49e4-b0d6-9155b3e6179b" providerId="ADAL" clId="{39684FDD-A70C-4CE2-A125-8E1A74AA15F7}" dt="2025-10-09T12:16:17.200" v="2362" actId="20577"/>
        <pc:sldMkLst>
          <pc:docMk/>
          <pc:sldMk cId="2547701306" sldId="258"/>
        </pc:sldMkLst>
        <pc:spChg chg="mod">
          <ac:chgData name="Ashburn, Elena" userId="72b2618e-0536-49e4-b0d6-9155b3e6179b" providerId="ADAL" clId="{39684FDD-A70C-4CE2-A125-8E1A74AA15F7}" dt="2025-10-06T19:55:16.047" v="443" actId="20577"/>
          <ac:spMkLst>
            <pc:docMk/>
            <pc:sldMk cId="2547701306" sldId="258"/>
            <ac:spMk id="2" creationId="{5E2BB656-562F-D40E-71AF-58C4973D8B2D}"/>
          </ac:spMkLst>
        </pc:spChg>
        <pc:spChg chg="add mod">
          <ac:chgData name="Ashburn, Elena" userId="72b2618e-0536-49e4-b0d6-9155b3e6179b" providerId="ADAL" clId="{39684FDD-A70C-4CE2-A125-8E1A74AA15F7}" dt="2025-10-09T12:16:17.200" v="2362" actId="20577"/>
          <ac:spMkLst>
            <pc:docMk/>
            <pc:sldMk cId="2547701306" sldId="258"/>
            <ac:spMk id="3" creationId="{05BE2F7F-5675-7123-4742-9641A6587C56}"/>
          </ac:spMkLst>
        </pc:spChg>
      </pc:sldChg>
      <pc:sldChg chg="modSp add mod">
        <pc:chgData name="Ashburn, Elena" userId="72b2618e-0536-49e4-b0d6-9155b3e6179b" providerId="ADAL" clId="{39684FDD-A70C-4CE2-A125-8E1A74AA15F7}" dt="2025-10-06T19:56:48.863" v="548" actId="20577"/>
        <pc:sldMkLst>
          <pc:docMk/>
          <pc:sldMk cId="920824431" sldId="259"/>
        </pc:sldMkLst>
        <pc:spChg chg="mod">
          <ac:chgData name="Ashburn, Elena" userId="72b2618e-0536-49e4-b0d6-9155b3e6179b" providerId="ADAL" clId="{39684FDD-A70C-4CE2-A125-8E1A74AA15F7}" dt="2025-10-06T19:56:48.863" v="548" actId="20577"/>
          <ac:spMkLst>
            <pc:docMk/>
            <pc:sldMk cId="920824431" sldId="259"/>
            <ac:spMk id="2" creationId="{FEC3F64B-2777-4545-2D6E-091852296C51}"/>
          </ac:spMkLst>
        </pc:spChg>
        <pc:spChg chg="mod">
          <ac:chgData name="Ashburn, Elena" userId="72b2618e-0536-49e4-b0d6-9155b3e6179b" providerId="ADAL" clId="{39684FDD-A70C-4CE2-A125-8E1A74AA15F7}" dt="2025-10-06T19:56:45.104" v="544" actId="5793"/>
          <ac:spMkLst>
            <pc:docMk/>
            <pc:sldMk cId="920824431" sldId="259"/>
            <ac:spMk id="3" creationId="{6D69C66E-D9BA-9878-032E-858EFFCC04B3}"/>
          </ac:spMkLst>
        </pc:spChg>
      </pc:sldChg>
      <pc:sldChg chg="modSp add mod">
        <pc:chgData name="Ashburn, Elena" userId="72b2618e-0536-49e4-b0d6-9155b3e6179b" providerId="ADAL" clId="{39684FDD-A70C-4CE2-A125-8E1A74AA15F7}" dt="2025-10-06T19:58:55.396" v="624" actId="20577"/>
        <pc:sldMkLst>
          <pc:docMk/>
          <pc:sldMk cId="3926457102" sldId="260"/>
        </pc:sldMkLst>
        <pc:spChg chg="mod">
          <ac:chgData name="Ashburn, Elena" userId="72b2618e-0536-49e4-b0d6-9155b3e6179b" providerId="ADAL" clId="{39684FDD-A70C-4CE2-A125-8E1A74AA15F7}" dt="2025-10-06T19:57:46.806" v="607" actId="20577"/>
          <ac:spMkLst>
            <pc:docMk/>
            <pc:sldMk cId="3926457102" sldId="260"/>
            <ac:spMk id="2" creationId="{D0E682CF-0440-D258-320E-1956AB7CD0EF}"/>
          </ac:spMkLst>
        </pc:spChg>
        <pc:spChg chg="mod">
          <ac:chgData name="Ashburn, Elena" userId="72b2618e-0536-49e4-b0d6-9155b3e6179b" providerId="ADAL" clId="{39684FDD-A70C-4CE2-A125-8E1A74AA15F7}" dt="2025-10-06T19:58:55.396" v="624" actId="20577"/>
          <ac:spMkLst>
            <pc:docMk/>
            <pc:sldMk cId="3926457102" sldId="260"/>
            <ac:spMk id="3" creationId="{3D1647F6-43EC-9D17-87C5-094324A15116}"/>
          </ac:spMkLst>
        </pc:spChg>
      </pc:sldChg>
      <pc:sldChg chg="modSp add mod ord">
        <pc:chgData name="Ashburn, Elena" userId="72b2618e-0536-49e4-b0d6-9155b3e6179b" providerId="ADAL" clId="{39684FDD-A70C-4CE2-A125-8E1A74AA15F7}" dt="2025-10-06T20:06:26.329" v="653" actId="5793"/>
        <pc:sldMkLst>
          <pc:docMk/>
          <pc:sldMk cId="2722779425" sldId="261"/>
        </pc:sldMkLst>
        <pc:spChg chg="mod">
          <ac:chgData name="Ashburn, Elena" userId="72b2618e-0536-49e4-b0d6-9155b3e6179b" providerId="ADAL" clId="{39684FDD-A70C-4CE2-A125-8E1A74AA15F7}" dt="2025-10-06T19:59:21.475" v="634" actId="20577"/>
          <ac:spMkLst>
            <pc:docMk/>
            <pc:sldMk cId="2722779425" sldId="261"/>
            <ac:spMk id="2" creationId="{44D2CE9E-1E81-817D-569E-0560A3CCABC0}"/>
          </ac:spMkLst>
        </pc:spChg>
        <pc:spChg chg="mod">
          <ac:chgData name="Ashburn, Elena" userId="72b2618e-0536-49e4-b0d6-9155b3e6179b" providerId="ADAL" clId="{39684FDD-A70C-4CE2-A125-8E1A74AA15F7}" dt="2025-10-06T20:06:26.329" v="653" actId="5793"/>
          <ac:spMkLst>
            <pc:docMk/>
            <pc:sldMk cId="2722779425" sldId="261"/>
            <ac:spMk id="3" creationId="{510B9D27-B301-14BB-145A-D16FAEDD9F66}"/>
          </ac:spMkLst>
        </pc:spChg>
      </pc:sldChg>
      <pc:sldChg chg="modSp add mod">
        <pc:chgData name="Ashburn, Elena" userId="72b2618e-0536-49e4-b0d6-9155b3e6179b" providerId="ADAL" clId="{39684FDD-A70C-4CE2-A125-8E1A74AA15F7}" dt="2025-10-06T20:07:59.904" v="680" actId="114"/>
        <pc:sldMkLst>
          <pc:docMk/>
          <pc:sldMk cId="3520438925" sldId="262"/>
        </pc:sldMkLst>
        <pc:spChg chg="mod">
          <ac:chgData name="Ashburn, Elena" userId="72b2618e-0536-49e4-b0d6-9155b3e6179b" providerId="ADAL" clId="{39684FDD-A70C-4CE2-A125-8E1A74AA15F7}" dt="2025-10-06T20:06:37.352" v="659" actId="20577"/>
          <ac:spMkLst>
            <pc:docMk/>
            <pc:sldMk cId="3520438925" sldId="262"/>
            <ac:spMk id="2" creationId="{99012DA2-BCFE-50C0-5862-F86831799425}"/>
          </ac:spMkLst>
        </pc:spChg>
        <pc:spChg chg="mod">
          <ac:chgData name="Ashburn, Elena" userId="72b2618e-0536-49e4-b0d6-9155b3e6179b" providerId="ADAL" clId="{39684FDD-A70C-4CE2-A125-8E1A74AA15F7}" dt="2025-10-06T20:07:59.904" v="680" actId="114"/>
          <ac:spMkLst>
            <pc:docMk/>
            <pc:sldMk cId="3520438925" sldId="262"/>
            <ac:spMk id="3" creationId="{13D0F078-2948-C888-DCD5-E37DD2847544}"/>
          </ac:spMkLst>
        </pc:spChg>
      </pc:sldChg>
      <pc:sldChg chg="modSp add mod">
        <pc:chgData name="Ashburn, Elena" userId="72b2618e-0536-49e4-b0d6-9155b3e6179b" providerId="ADAL" clId="{39684FDD-A70C-4CE2-A125-8E1A74AA15F7}" dt="2025-10-06T20:25:02.650" v="916" actId="20577"/>
        <pc:sldMkLst>
          <pc:docMk/>
          <pc:sldMk cId="3338391821" sldId="263"/>
        </pc:sldMkLst>
        <pc:spChg chg="mod">
          <ac:chgData name="Ashburn, Elena" userId="72b2618e-0536-49e4-b0d6-9155b3e6179b" providerId="ADAL" clId="{39684FDD-A70C-4CE2-A125-8E1A74AA15F7}" dt="2025-10-06T20:08:15.997" v="686" actId="20577"/>
          <ac:spMkLst>
            <pc:docMk/>
            <pc:sldMk cId="3338391821" sldId="263"/>
            <ac:spMk id="2" creationId="{74794F4E-9171-F56A-AA4C-93B526C582E1}"/>
          </ac:spMkLst>
        </pc:spChg>
        <pc:spChg chg="mod">
          <ac:chgData name="Ashburn, Elena" userId="72b2618e-0536-49e4-b0d6-9155b3e6179b" providerId="ADAL" clId="{39684FDD-A70C-4CE2-A125-8E1A74AA15F7}" dt="2025-10-06T20:25:02.650" v="916" actId="20577"/>
          <ac:spMkLst>
            <pc:docMk/>
            <pc:sldMk cId="3338391821" sldId="263"/>
            <ac:spMk id="3" creationId="{7CC5D320-CF34-2907-21BF-A1471209D212}"/>
          </ac:spMkLst>
        </pc:spChg>
      </pc:sldChg>
      <pc:sldChg chg="modSp add mod">
        <pc:chgData name="Ashburn, Elena" userId="72b2618e-0536-49e4-b0d6-9155b3e6179b" providerId="ADAL" clId="{39684FDD-A70C-4CE2-A125-8E1A74AA15F7}" dt="2025-10-06T20:16:18.161" v="749" actId="14100"/>
        <pc:sldMkLst>
          <pc:docMk/>
          <pc:sldMk cId="499051794" sldId="264"/>
        </pc:sldMkLst>
        <pc:spChg chg="mod">
          <ac:chgData name="Ashburn, Elena" userId="72b2618e-0536-49e4-b0d6-9155b3e6179b" providerId="ADAL" clId="{39684FDD-A70C-4CE2-A125-8E1A74AA15F7}" dt="2025-10-06T20:16:18.161" v="749" actId="14100"/>
          <ac:spMkLst>
            <pc:docMk/>
            <pc:sldMk cId="499051794" sldId="264"/>
            <ac:spMk id="2" creationId="{B2D8C711-D84F-50F2-E4C2-17FE2DD15E81}"/>
          </ac:spMkLst>
        </pc:spChg>
        <pc:spChg chg="mod">
          <ac:chgData name="Ashburn, Elena" userId="72b2618e-0536-49e4-b0d6-9155b3e6179b" providerId="ADAL" clId="{39684FDD-A70C-4CE2-A125-8E1A74AA15F7}" dt="2025-10-06T20:15:51.491" v="718" actId="5793"/>
          <ac:spMkLst>
            <pc:docMk/>
            <pc:sldMk cId="499051794" sldId="264"/>
            <ac:spMk id="3" creationId="{C23DBB39-7FE1-7B2F-18D3-4D67A4C50E6A}"/>
          </ac:spMkLst>
        </pc:spChg>
      </pc:sldChg>
      <pc:sldChg chg="new del">
        <pc:chgData name="Ashburn, Elena" userId="72b2618e-0536-49e4-b0d6-9155b3e6179b" providerId="ADAL" clId="{39684FDD-A70C-4CE2-A125-8E1A74AA15F7}" dt="2025-10-06T20:26:03.323" v="918" actId="47"/>
        <pc:sldMkLst>
          <pc:docMk/>
          <pc:sldMk cId="2720707608" sldId="265"/>
        </pc:sldMkLst>
      </pc:sldChg>
      <pc:sldChg chg="modSp new mod">
        <pc:chgData name="Ashburn, Elena" userId="72b2618e-0536-49e4-b0d6-9155b3e6179b" providerId="ADAL" clId="{39684FDD-A70C-4CE2-A125-8E1A74AA15F7}" dt="2025-10-06T20:27:17.387" v="971" actId="20577"/>
        <pc:sldMkLst>
          <pc:docMk/>
          <pc:sldMk cId="2794570234" sldId="265"/>
        </pc:sldMkLst>
        <pc:spChg chg="mod">
          <ac:chgData name="Ashburn, Elena" userId="72b2618e-0536-49e4-b0d6-9155b3e6179b" providerId="ADAL" clId="{39684FDD-A70C-4CE2-A125-8E1A74AA15F7}" dt="2025-10-06T20:27:17.387" v="971" actId="20577"/>
          <ac:spMkLst>
            <pc:docMk/>
            <pc:sldMk cId="2794570234" sldId="265"/>
            <ac:spMk id="2" creationId="{66BAB735-23DB-AD8F-A6AF-BCBA2E3EDE03}"/>
          </ac:spMkLst>
        </pc:spChg>
      </pc:sldChg>
      <pc:sldChg chg="add del ord">
        <pc:chgData name="Ashburn, Elena" userId="72b2618e-0536-49e4-b0d6-9155b3e6179b" providerId="ADAL" clId="{39684FDD-A70C-4CE2-A125-8E1A74AA15F7}" dt="2025-10-06T20:28:10.299" v="975" actId="47"/>
        <pc:sldMkLst>
          <pc:docMk/>
          <pc:sldMk cId="2523331714" sldId="266"/>
        </pc:sldMkLst>
      </pc:sldChg>
      <pc:sldChg chg="modSp add del mod">
        <pc:chgData name="Ashburn, Elena" userId="72b2618e-0536-49e4-b0d6-9155b3e6179b" providerId="ADAL" clId="{39684FDD-A70C-4CE2-A125-8E1A74AA15F7}" dt="2025-10-06T20:29:42.919" v="1009" actId="47"/>
        <pc:sldMkLst>
          <pc:docMk/>
          <pc:sldMk cId="2601874818" sldId="266"/>
        </pc:sldMkLst>
      </pc:sldChg>
      <pc:sldChg chg="addSp delSp modSp add del mod ord chgLayout">
        <pc:chgData name="Ashburn, Elena" userId="72b2618e-0536-49e4-b0d6-9155b3e6179b" providerId="ADAL" clId="{39684FDD-A70C-4CE2-A125-8E1A74AA15F7}" dt="2025-10-07T14:31:26.449" v="1891" actId="47"/>
        <pc:sldMkLst>
          <pc:docMk/>
          <pc:sldMk cId="3069943894" sldId="267"/>
        </pc:sldMkLst>
      </pc:sldChg>
      <pc:sldChg chg="addSp modSp new mod ord">
        <pc:chgData name="Ashburn, Elena" userId="72b2618e-0536-49e4-b0d6-9155b3e6179b" providerId="ADAL" clId="{39684FDD-A70C-4CE2-A125-8E1A74AA15F7}" dt="2025-10-07T14:37:31.212" v="2295" actId="1076"/>
        <pc:sldMkLst>
          <pc:docMk/>
          <pc:sldMk cId="1815552194" sldId="268"/>
        </pc:sldMkLst>
        <pc:spChg chg="mod">
          <ac:chgData name="Ashburn, Elena" userId="72b2618e-0536-49e4-b0d6-9155b3e6179b" providerId="ADAL" clId="{39684FDD-A70C-4CE2-A125-8E1A74AA15F7}" dt="2025-10-07T14:22:37.961" v="1375" actId="403"/>
          <ac:spMkLst>
            <pc:docMk/>
            <pc:sldMk cId="1815552194" sldId="268"/>
            <ac:spMk id="2" creationId="{24FFF139-E1D0-C778-023C-7FFBBA5E4D3A}"/>
          </ac:spMkLst>
        </pc:spChg>
        <pc:spChg chg="mod">
          <ac:chgData name="Ashburn, Elena" userId="72b2618e-0536-49e4-b0d6-9155b3e6179b" providerId="ADAL" clId="{39684FDD-A70C-4CE2-A125-8E1A74AA15F7}" dt="2025-10-07T14:37:31.212" v="2295" actId="1076"/>
          <ac:spMkLst>
            <pc:docMk/>
            <pc:sldMk cId="1815552194" sldId="268"/>
            <ac:spMk id="3" creationId="{9343C98B-F403-E697-B922-1B4F4E206785}"/>
          </ac:spMkLst>
        </pc:spChg>
        <pc:spChg chg="add mod">
          <ac:chgData name="Ashburn, Elena" userId="72b2618e-0536-49e4-b0d6-9155b3e6179b" providerId="ADAL" clId="{39684FDD-A70C-4CE2-A125-8E1A74AA15F7}" dt="2025-10-07T14:37:15.821" v="2289" actId="20577"/>
          <ac:spMkLst>
            <pc:docMk/>
            <pc:sldMk cId="1815552194" sldId="268"/>
            <ac:spMk id="4" creationId="{CB5A8F66-8DA1-00A3-6212-39197B487BC7}"/>
          </ac:spMkLst>
        </pc:spChg>
      </pc:sldChg>
      <pc:sldChg chg="modSp add mod ord">
        <pc:chgData name="Ashburn, Elena" userId="72b2618e-0536-49e4-b0d6-9155b3e6179b" providerId="ADAL" clId="{39684FDD-A70C-4CE2-A125-8E1A74AA15F7}" dt="2025-10-07T14:42:40.577" v="2355" actId="20577"/>
        <pc:sldMkLst>
          <pc:docMk/>
          <pc:sldMk cId="321234004" sldId="269"/>
        </pc:sldMkLst>
        <pc:spChg chg="mod">
          <ac:chgData name="Ashburn, Elena" userId="72b2618e-0536-49e4-b0d6-9155b3e6179b" providerId="ADAL" clId="{39684FDD-A70C-4CE2-A125-8E1A74AA15F7}" dt="2025-10-07T14:30:27.706" v="1884" actId="113"/>
          <ac:spMkLst>
            <pc:docMk/>
            <pc:sldMk cId="321234004" sldId="269"/>
            <ac:spMk id="2" creationId="{D61CE38B-FE4D-46F7-D42D-FCDD0DF4525D}"/>
          </ac:spMkLst>
        </pc:spChg>
        <pc:spChg chg="mod">
          <ac:chgData name="Ashburn, Elena" userId="72b2618e-0536-49e4-b0d6-9155b3e6179b" providerId="ADAL" clId="{39684FDD-A70C-4CE2-A125-8E1A74AA15F7}" dt="2025-10-07T14:42:40.577" v="2355" actId="20577"/>
          <ac:spMkLst>
            <pc:docMk/>
            <pc:sldMk cId="321234004" sldId="269"/>
            <ac:spMk id="3" creationId="{B60B82FC-6F91-4663-3F60-F93A04B2C1EA}"/>
          </ac:spMkLst>
        </pc:spChg>
      </pc:sldChg>
      <pc:sldChg chg="new del">
        <pc:chgData name="Ashburn, Elena" userId="72b2618e-0536-49e4-b0d6-9155b3e6179b" providerId="ADAL" clId="{39684FDD-A70C-4CE2-A125-8E1A74AA15F7}" dt="2025-10-07T14:19:57.691" v="1046" actId="47"/>
        <pc:sldMkLst>
          <pc:docMk/>
          <pc:sldMk cId="2469893630" sldId="269"/>
        </pc:sldMkLst>
      </pc:sldChg>
      <pc:sldChg chg="new">
        <pc:chgData name="Ashburn, Elena" userId="72b2618e-0536-49e4-b0d6-9155b3e6179b" providerId="ADAL" clId="{39684FDD-A70C-4CE2-A125-8E1A74AA15F7}" dt="2025-10-07T14:31:16.356" v="1890" actId="680"/>
        <pc:sldMkLst>
          <pc:docMk/>
          <pc:sldMk cId="1457812144" sldId="270"/>
        </pc:sldMkLst>
      </pc:sldChg>
      <pc:sldChg chg="add del">
        <pc:chgData name="Ashburn, Elena" userId="72b2618e-0536-49e4-b0d6-9155b3e6179b" providerId="ADAL" clId="{39684FDD-A70C-4CE2-A125-8E1A74AA15F7}" dt="2025-10-07T15:07:21.992" v="2359" actId="47"/>
        <pc:sldMkLst>
          <pc:docMk/>
          <pc:sldMk cId="592034770" sldId="271"/>
        </pc:sldMkLst>
      </pc:sldChg>
      <pc:sldChg chg="add ord">
        <pc:chgData name="Ashburn, Elena" userId="72b2618e-0536-49e4-b0d6-9155b3e6179b" providerId="ADAL" clId="{39684FDD-A70C-4CE2-A125-8E1A74AA15F7}" dt="2025-10-07T15:07:20.667" v="2358"/>
        <pc:sldMkLst>
          <pc:docMk/>
          <pc:sldMk cId="3186330411" sldId="27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5" y="3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0/9/2025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42033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5" y="8842033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4445594"/>
            <a:ext cx="7021475" cy="48635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324" tIns="46662" rIns="93324" bIns="46662"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3293" y="3"/>
            <a:ext cx="2960052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5100" y="579438"/>
            <a:ext cx="6673850" cy="375443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3293" y="8813232"/>
            <a:ext cx="2960052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5" y="8813232"/>
            <a:ext cx="2950637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62246" y="4751930"/>
            <a:ext cx="6480810" cy="3798746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78366" y="0"/>
            <a:ext cx="3043130" cy="467215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en-US" smtClean="0"/>
              <a:pPr/>
              <a:t>10/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33" userDrawn="1">
          <p15:clr>
            <a:srgbClr val="F26B43"/>
          </p15:clr>
        </p15:guide>
        <p15:guide id="2" pos="2212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5.jpeg"/><Relationship Id="rId5" Type="http://schemas.openxmlformats.org/officeDocument/2006/relationships/image" Target="../media/image12.jpeg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jpe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5.jpeg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7.png"/><Relationship Id="rId4" Type="http://schemas.openxmlformats.org/officeDocument/2006/relationships/image" Target="../media/image9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6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6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4" Type="http://schemas.openxmlformats.org/officeDocument/2006/relationships/image" Target="../media/image6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6" Type="http://schemas.openxmlformats.org/officeDocument/2006/relationships/image" Target="../media/image5.jpeg"/><Relationship Id="rId5" Type="http://schemas.openxmlformats.org/officeDocument/2006/relationships/image" Target="../media/image12.jpeg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tanding next to a car&#10;&#10;AI-generated content may be incorrect.">
            <a:extLst>
              <a:ext uri="{FF2B5EF4-FFF2-40B4-BE49-F238E27FC236}">
                <a16:creationId xmlns:a16="http://schemas.microsoft.com/office/drawing/2014/main" id="{A7440E9A-3A62-FFA5-4B89-26B440681E0C}"/>
              </a:ext>
            </a:extLst>
          </p:cNvPr>
          <p:cNvPicPr>
            <a:picLocks/>
          </p:cNvPicPr>
          <p:nvPr userDrawn="1"/>
        </p:nvPicPr>
        <p:blipFill>
          <a:blip r:embed="rId4"/>
          <a:srcRect b="35314"/>
          <a:stretch>
            <a:fillRect/>
          </a:stretch>
        </p:blipFill>
        <p:spPr>
          <a:xfrm>
            <a:off x="3048" y="0"/>
            <a:ext cx="12188952" cy="5256364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3960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1746015"/>
            <a:ext cx="8125200" cy="4409785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none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EA4B7362-6C34-5718-E876-B5A20918A0C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l="17831" t="27222" r="17831" b="29166"/>
          <a:stretch/>
        </p:blipFill>
        <p:spPr>
          <a:xfrm>
            <a:off x="9209066" y="5618123"/>
            <a:ext cx="2500184" cy="953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4A4805-D93B-00E8-ACE5-A13AD92CCF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272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4A4805-D93B-00E8-ACE5-A13AD92CC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2FFE2E7-EE0F-55EC-6399-CF9CFC67C0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6783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FFE2E7-EE0F-55EC-6399-CF9CFC67C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92F65D-E952-F84D-9172-CCC29BB520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8733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92F65D-E952-F84D-9172-CCC29BB520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E12948C-1186-3C4A-7F15-F49B2B4DCE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147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12948C-1186-3C4A-7F15-F49B2B4DC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453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187AA24-7D8A-AD4A-B33D-BED999949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251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87AA24-7D8A-AD4A-B33D-BED999949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EA7DF95-C050-8B2D-6A67-98384681BC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334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A7DF95-C050-8B2D-6A67-98384681BC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43311C1-DF4E-2E2D-1768-21D2B13B2F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86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311C1-DF4E-2E2D-1768-21D2B13B2F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6ECD3BB-CF10-6E42-E1C6-D3C0A5EE0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4083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ECD3BB-CF10-6E42-E1C6-D3C0A5EE0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B1922D2-3004-3062-AD4D-B76F0F02F0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366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1922D2-3004-3062-AD4D-B76F0F02F0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9C147E1-FEAA-91B7-AEBA-A289A3901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140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C147E1-FEAA-91B7-AEBA-A289A3901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33AC198-20FC-CCAB-5074-D79A6C3C9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93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3AC198-20FC-CCAB-5074-D79A6C3C9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A84168-2980-A54B-2E5A-D15C727502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353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A84168-2980-A54B-2E5A-D15C72750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65081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2B4B144-0A52-1296-342A-881B820120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0822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B4B144-0A52-1296-342A-881B820120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3E6D3F2-B9E3-16C2-2685-72CA729DA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7952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E6D3F2-B9E3-16C2-2685-72CA729DA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6017A69-F40B-430E-B0FF-008711CDF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875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017A69-F40B-430E-B0FF-008711CDF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B8B987C-6421-BFE0-1C74-A78993CC30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691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8B987C-6421-BFE0-1C74-A78993CC3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1140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erson and person standing next to a metal frame&#10;&#10;Description automatically generated">
            <a:extLst>
              <a:ext uri="{FF2B5EF4-FFF2-40B4-BE49-F238E27FC236}">
                <a16:creationId xmlns:a16="http://schemas.microsoft.com/office/drawing/2014/main" id="{F72A217F-B087-5E22-B522-BC60D38126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813" b="7813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8" name="Rectangle 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6B4A2BFC-AD7A-9CE3-32EA-713263AE748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17831" t="27222" r="17831" b="29166"/>
          <a:stretch/>
        </p:blipFill>
        <p:spPr>
          <a:xfrm>
            <a:off x="2173907" y="2359221"/>
            <a:ext cx="5039258" cy="1921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5004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D767F99-08C1-01D3-1954-EB61BDDA59BE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7EFEE5-4437-EE52-6103-ED0216AF50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4" name="Picture 3" descr="A person and person standing next to a metal frame&#10;&#10;Description automatically generated">
            <a:extLst>
              <a:ext uri="{FF2B5EF4-FFF2-40B4-BE49-F238E27FC236}">
                <a16:creationId xmlns:a16="http://schemas.microsoft.com/office/drawing/2014/main" id="{96F5B671-392E-531B-2978-6BE0C8B71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10396" b="24682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6170D9-14B8-F6E5-5BF8-8B722D5ACEB9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9044689-FD45-25CB-8F86-E07D2EF965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none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E9EBDFD-7BC2-D621-9A00-B5B133C673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E1C72D4-52D5-69C1-459C-0FE9BB8DEC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C27ECC43-1768-7D7C-9BF6-83C545D8D1E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l="17831" t="27222" r="17831" b="29166"/>
          <a:stretch/>
        </p:blipFill>
        <p:spPr>
          <a:xfrm>
            <a:off x="9209066" y="5618123"/>
            <a:ext cx="2500184" cy="9532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5A0BD8B-98D2-E7CD-DFB4-1E7E14CEEF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854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A0BD8B-98D2-E7CD-DFB4-1E7E14CEE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B7BB948E-0704-5422-70B4-A4712E96CB7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17831" t="27222" r="17831" b="29166"/>
          <a:stretch/>
        </p:blipFill>
        <p:spPr>
          <a:xfrm>
            <a:off x="10058893" y="6280444"/>
            <a:ext cx="1117340" cy="42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392C146-D63F-5F3E-3B7C-098063B85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055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92C146-D63F-5F3E-3B7C-098063B85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vert="horz"/>
          <a:lstStyle>
            <a:lvl1pPr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5A0BD8B-98D2-E7CD-DFB4-1E7E14CEEF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854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A0BD8B-98D2-E7CD-DFB4-1E7E14CEE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49109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DAE11-9BA2-EAEE-BAF7-4D778EE5ED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73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DAE11-9BA2-EAEE-BAF7-4D778EE5ED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91FB094-33D3-3291-F92A-9AF1F6D45C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275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1FB094-33D3-3291-F92A-9AF1F6D45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7F32D89-B9AE-8875-32B1-A875A472BF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0158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F32D89-B9AE-8875-32B1-A875A472B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935B842-0C24-7D30-23C1-05148F1B09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811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35B842-0C24-7D30-23C1-05148F1B09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8DCCDCC-4628-08AE-11AA-21EA6466A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6385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DCCDCC-4628-08AE-11AA-21EA6466A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B438D45-30AB-B7F4-5C96-6702352367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536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438D45-30AB-B7F4-5C96-6702352367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558D87C-F542-3928-102F-C53AE10855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4280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58D87C-F542-3928-102F-C53AE10855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635CDBE-5341-810B-F533-C56B489E6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6736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35CDBE-5341-810B-F533-C56B489E6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AC963FB-06DE-EA6A-894A-16590E36E5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05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C963FB-06DE-EA6A-894A-16590E36E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9B5B2-8220-AD73-E099-B6F589E31E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949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9B5B2-8220-AD73-E099-B6F589E31E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B37C8C-D6C0-FE71-BA4C-DA88C2E0D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617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37C8C-D6C0-FE71-BA4C-DA88C2E0D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988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22F8708-02A9-42CF-33C5-0A1745592E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284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2F8708-02A9-42CF-33C5-0A1745592E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65FEC2E-83DF-854C-DBA9-896D89298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177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5FEC2E-83DF-854C-DBA9-896D89298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9CAB229-1ED8-372A-7422-F135E8285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362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CAB229-1ED8-372A-7422-F135E8285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DA5F0A3-A286-9184-A098-AE153843D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439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A5F0A3-A286-9184-A098-AE153843D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FCB3C8-D8B1-C8AF-2517-136A96CE97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3166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FCB3C8-D8B1-C8AF-2517-136A96CE9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475101-E8D3-A69E-15C6-9B475DB894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3258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75101-E8D3-A69E-15C6-9B475DB89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775740-7BED-809B-E254-5DFF82325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821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775740-7BED-809B-E254-5DFF82325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F80977E-1F19-F216-2B48-096ABF6BA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7983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80977E-1F19-F216-2B48-096ABF6BA8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3BAB356-7C01-D9AF-894E-D44EF0C1D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31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BAB356-7C01-D9AF-894E-D44EF0C1D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FBA6385-2A7A-05EE-397E-683D2F870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461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BA6385-2A7A-05EE-397E-683D2F870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0602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82CEA47-2EF6-421A-8189-80138F1F83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166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2CEA47-2EF6-421A-8189-80138F1F83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3B2BE0C-49E4-00AC-BA39-2E21BE62F2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4506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B2BE0C-49E4-00AC-BA39-2E21BE62F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24742"/>
            <a:ext cx="3013086" cy="166814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F831ADD-636A-AF20-B065-1A1A8C8BD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821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831ADD-636A-AF20-B065-1A1A8C8BD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754C477-08FA-492F-71CD-228F6FF80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7425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54C477-08FA-492F-71CD-228F6FF80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B911B50-4532-BD1E-8C3E-D5F2AE352B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037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911B50-4532-BD1E-8C3E-D5F2AE352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316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erson and person standing next to a metal frame&#10;&#10;Description automatically generated">
            <a:extLst>
              <a:ext uri="{FF2B5EF4-FFF2-40B4-BE49-F238E27FC236}">
                <a16:creationId xmlns:a16="http://schemas.microsoft.com/office/drawing/2014/main" id="{1D8F2C56-1E39-2593-BF08-F80C322B7F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813" b="7813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D182D1-D340-43B0-C47F-BEF11DE06280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310AF709-91DD-B4BA-D89E-5F801538B62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17831" t="27222" r="17831" b="29166"/>
          <a:stretch/>
        </p:blipFill>
        <p:spPr>
          <a:xfrm>
            <a:off x="2173907" y="2359221"/>
            <a:ext cx="5039258" cy="1921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62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7288" cy="36576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18230" y="1115416"/>
            <a:ext cx="2871620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8475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84DD9D0-CB7A-4008-D6F5-5FB41099A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449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4DD9D0-CB7A-4008-D6F5-5FB41099AD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95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2930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7503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37555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6576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18230" y="1115416"/>
            <a:ext cx="2871620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667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12878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8014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343943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4208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624742"/>
            <a:ext cx="3056629" cy="166814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E7D30-C1C3-D92B-306F-C59E5DB21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045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782DDCE-3467-B29D-18EB-07CE45BF1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1095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82DDCE-3467-B29D-18EB-07CE45BF1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01297EB-D830-8F36-597E-46167A0B3B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9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1297EB-D830-8F36-597E-46167A0B3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1EDEC1A-00AF-97C6-4719-AC3084C095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118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EDEC1A-00AF-97C6-4719-AC3084C095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4028025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2081213"/>
            <a:ext cx="10933350" cy="40798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83" r:id="rId3"/>
    <p:sldLayoutId id="2147485158" r:id="rId4"/>
    <p:sldLayoutId id="2147485113" r:id="rId5"/>
    <p:sldLayoutId id="2147485114" r:id="rId6"/>
    <p:sldLayoutId id="2147485154" r:id="rId7"/>
    <p:sldLayoutId id="2147485162" r:id="rId8"/>
    <p:sldLayoutId id="2147485149" r:id="rId9"/>
    <p:sldLayoutId id="2147485087" r:id="rId10"/>
    <p:sldLayoutId id="2147485112" r:id="rId11"/>
    <p:sldLayoutId id="2147485155" r:id="rId12"/>
    <p:sldLayoutId id="2147485164" r:id="rId13"/>
    <p:sldLayoutId id="2147485109" r:id="rId14"/>
    <p:sldLayoutId id="2147485165" r:id="rId15"/>
    <p:sldLayoutId id="2147485110" r:id="rId16"/>
    <p:sldLayoutId id="2147485166" r:id="rId17"/>
    <p:sldLayoutId id="2147485156" r:id="rId18"/>
    <p:sldLayoutId id="2147485167" r:id="rId19"/>
    <p:sldLayoutId id="2147485108" r:id="rId20"/>
    <p:sldLayoutId id="2147485107" r:id="rId21"/>
    <p:sldLayoutId id="2147485106" r:id="rId22"/>
    <p:sldLayoutId id="2147485090" r:id="rId23"/>
    <p:sldLayoutId id="2147485091" r:id="rId24"/>
    <p:sldLayoutId id="2147485092" r:id="rId25"/>
    <p:sldLayoutId id="2147485093" r:id="rId26"/>
    <p:sldLayoutId id="2147485116" r:id="rId27"/>
    <p:sldLayoutId id="2147485159" r:id="rId28"/>
    <p:sldLayoutId id="2147485119" r:id="rId29"/>
    <p:sldLayoutId id="2147485185" r:id="rId30"/>
    <p:sldLayoutId id="2147485184" r:id="rId31"/>
    <p:sldLayoutId id="2147485137" r:id="rId32"/>
    <p:sldLayoutId id="2147485120" r:id="rId33"/>
    <p:sldLayoutId id="2147485121" r:id="rId34"/>
    <p:sldLayoutId id="2147485141" r:id="rId35"/>
    <p:sldLayoutId id="2147485163" r:id="rId36"/>
    <p:sldLayoutId id="2147485139" r:id="rId37"/>
    <p:sldLayoutId id="2147485140" r:id="rId38"/>
    <p:sldLayoutId id="2147485122" r:id="rId39"/>
    <p:sldLayoutId id="2147485123" r:id="rId40"/>
    <p:sldLayoutId id="2147485151" r:id="rId41"/>
    <p:sldLayoutId id="2147485168" r:id="rId42"/>
    <p:sldLayoutId id="2147485127" r:id="rId43"/>
    <p:sldLayoutId id="2147485169" r:id="rId44"/>
    <p:sldLayoutId id="2147485126" r:id="rId45"/>
    <p:sldLayoutId id="2147485170" r:id="rId46"/>
    <p:sldLayoutId id="2147485153" r:id="rId47"/>
    <p:sldLayoutId id="2147485171" r:id="rId48"/>
    <p:sldLayoutId id="2147485128" r:id="rId49"/>
    <p:sldLayoutId id="2147485129" r:id="rId50"/>
    <p:sldLayoutId id="2147485130" r:id="rId51"/>
    <p:sldLayoutId id="2147485131" r:id="rId52"/>
    <p:sldLayoutId id="2147485145" r:id="rId53"/>
    <p:sldLayoutId id="2147485133" r:id="rId54"/>
    <p:sldLayoutId id="2147485144" r:id="rId55"/>
    <p:sldLayoutId id="2147485134" r:id="rId56"/>
    <p:sldLayoutId id="2147485146" r:id="rId57"/>
    <p:sldLayoutId id="2147485172" r:id="rId58"/>
    <p:sldLayoutId id="2147485173" r:id="rId59"/>
    <p:sldLayoutId id="2147485174" r:id="rId60"/>
    <p:sldLayoutId id="2147485175" r:id="rId61"/>
    <p:sldLayoutId id="2147485176" r:id="rId62"/>
    <p:sldLayoutId id="2147485177" r:id="rId63"/>
    <p:sldLayoutId id="2147485178" r:id="rId64"/>
    <p:sldLayoutId id="2147485179" r:id="rId65"/>
    <p:sldLayoutId id="2147485180" r:id="rId66"/>
    <p:sldLayoutId id="2147485186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8EBCAA-DBE1-4FC9-CCAA-160661A5BD9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8FD54E-B55B-F584-1684-FDA8D392E63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Vernon Malone College &amp; Career Academ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9E4982-5ED6-E53E-E6B4-1BA3B606222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orth Carolina Education Cabinet</a:t>
            </a:r>
            <a:br>
              <a:rPr lang="en-US" dirty="0"/>
            </a:br>
            <a:r>
              <a:rPr lang="en-US" sz="2800" dirty="0"/>
              <a:t>October 14,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984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E5467F-CDB7-6863-B215-F6BDD1333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D8C711-D84F-50F2-E4C2-17FE2DD15E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143" y="2764203"/>
            <a:ext cx="3510116" cy="1314311"/>
          </a:xfrm>
        </p:spPr>
        <p:txBody>
          <a:bodyPr/>
          <a:lstStyle/>
          <a:p>
            <a:pPr algn="ctr"/>
            <a:r>
              <a:rPr lang="en-US" sz="4800" dirty="0"/>
              <a:t>Department of Commerce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C23DBB39-7FE1-7B2F-18D3-4D67A4C50E6A}"/>
              </a:ext>
            </a:extLst>
          </p:cNvPr>
          <p:cNvSpPr txBox="1">
            <a:spLocks/>
          </p:cNvSpPr>
          <p:nvPr/>
        </p:nvSpPr>
        <p:spPr>
          <a:xfrm>
            <a:off x="4539041" y="442452"/>
            <a:ext cx="6868800" cy="586985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Advance the goals of the Governor’s Council on Workforce &amp; Apprenticeships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ncrease labor market alignment by increasing completion of short-term industry valued credentials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ncrease employer participation in work-based learning</a:t>
            </a:r>
          </a:p>
        </p:txBody>
      </p:sp>
    </p:spTree>
    <p:extLst>
      <p:ext uri="{BB962C8B-B14F-4D97-AF65-F5344CB8AC3E}">
        <p14:creationId xmlns:p14="http://schemas.microsoft.com/office/powerpoint/2010/main" val="49905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AB735-23DB-AD8F-A6AF-BCBA2E3EDE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336" y="2399071"/>
            <a:ext cx="6256800" cy="1495794"/>
          </a:xfrm>
        </p:spPr>
        <p:txBody>
          <a:bodyPr/>
          <a:lstStyle/>
          <a:p>
            <a:r>
              <a:rPr lang="en-US" sz="5400" dirty="0"/>
              <a:t>Cabinet Members &amp; </a:t>
            </a:r>
            <a:br>
              <a:rPr lang="en-US" sz="5400" dirty="0"/>
            </a:br>
            <a:r>
              <a:rPr lang="en-US" sz="5400" dirty="0"/>
              <a:t>Legislators Discussion</a:t>
            </a:r>
          </a:p>
        </p:txBody>
      </p:sp>
    </p:spTree>
    <p:extLst>
      <p:ext uri="{BB962C8B-B14F-4D97-AF65-F5344CB8AC3E}">
        <p14:creationId xmlns:p14="http://schemas.microsoft.com/office/powerpoint/2010/main" val="279457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5096E2-E238-713E-D0C1-9D102BFC5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6846E-0BF6-83AE-D5F0-DE082ECF8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609398"/>
          </a:xfrm>
        </p:spPr>
        <p:txBody>
          <a:bodyPr/>
          <a:lstStyle/>
          <a:p>
            <a:r>
              <a:rPr lang="en-US" sz="4400" b="1" dirty="0"/>
              <a:t>Discus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283547-FB64-9EA8-5882-1848683CE6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1553498"/>
            <a:ext cx="10933801" cy="4621262"/>
          </a:xfrm>
        </p:spPr>
        <p:txBody>
          <a:bodyPr/>
          <a:lstStyle/>
          <a:p>
            <a:r>
              <a:rPr lang="en-US" sz="3200" dirty="0">
                <a:solidFill>
                  <a:schemeClr val="tx2"/>
                </a:solidFill>
              </a:rPr>
              <a:t>After hearing the priorities, consider:</a:t>
            </a:r>
          </a:p>
          <a:p>
            <a:endParaRPr lang="en-US" sz="3200" b="1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2"/>
                </a:solidFill>
              </a:rPr>
              <a:t>What intersections or common themes do you hear between the shared priorities?</a:t>
            </a:r>
          </a:p>
          <a:p>
            <a:pPr>
              <a:buNone/>
            </a:pPr>
            <a:endParaRPr lang="en-US" sz="32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2"/>
                </a:solidFill>
              </a:rPr>
              <a:t>What stands out to you as particularly meaningful to the NC education continuum that the NC Education Cabinet should focus its work on?</a:t>
            </a:r>
          </a:p>
          <a:p>
            <a:pPr>
              <a:buNone/>
            </a:pP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33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7812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FF139-E1D0-C778-023C-7FFBBA5E4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609398"/>
          </a:xfrm>
        </p:spPr>
        <p:txBody>
          <a:bodyPr/>
          <a:lstStyle/>
          <a:p>
            <a:r>
              <a:rPr lang="en-US" sz="4400" dirty="0"/>
              <a:t>Agenda &amp; Desired Outcom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43C98B-F403-E697-B922-1B4F4E2067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94554" y="1524002"/>
            <a:ext cx="6086168" cy="4621262"/>
          </a:xfrm>
        </p:spPr>
        <p:txBody>
          <a:bodyPr/>
          <a:lstStyle/>
          <a:p>
            <a:r>
              <a:rPr lang="en-US" sz="2400" b="1" dirty="0">
                <a:solidFill>
                  <a:schemeClr val="tx2"/>
                </a:solidFill>
              </a:rPr>
              <a:t>Desired Outcomes:</a:t>
            </a:r>
            <a:r>
              <a:rPr lang="en-US" sz="2400" dirty="0">
                <a:solidFill>
                  <a:schemeClr val="tx2"/>
                </a:solidFill>
              </a:rPr>
              <a:t> </a:t>
            </a:r>
          </a:p>
          <a:p>
            <a:endParaRPr lang="en-US" sz="2400" dirty="0">
              <a:solidFill>
                <a:schemeClr val="tx2"/>
              </a:solidFill>
            </a:endParaRPr>
          </a:p>
          <a:p>
            <a:r>
              <a:rPr lang="en-US" sz="2400" dirty="0">
                <a:solidFill>
                  <a:schemeClr val="tx2"/>
                </a:solidFill>
              </a:rPr>
              <a:t>By the end of the meeting, members will have:</a:t>
            </a:r>
          </a:p>
          <a:p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hared their agency’s top education prior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Discussed the intersection and/or common themes amongst the shared priorities and </a:t>
            </a:r>
          </a:p>
          <a:p>
            <a:pPr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Discussed which priorities may be most important for the cabinet to focus its work on.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B5A8F66-8DA1-00A3-6212-39197B487BC7}"/>
              </a:ext>
            </a:extLst>
          </p:cNvPr>
          <p:cNvSpPr txBox="1">
            <a:spLocks/>
          </p:cNvSpPr>
          <p:nvPr/>
        </p:nvSpPr>
        <p:spPr>
          <a:xfrm>
            <a:off x="1090916" y="1553498"/>
            <a:ext cx="3795716" cy="4621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28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28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r>
              <a:rPr lang="en-US" sz="2400" b="1" dirty="0">
                <a:solidFill>
                  <a:schemeClr val="tx2"/>
                </a:solidFill>
              </a:rPr>
              <a:t>Agenda:</a:t>
            </a:r>
          </a:p>
          <a:p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Welcome &amp; Introduction</a:t>
            </a:r>
          </a:p>
          <a:p>
            <a:pPr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Members share priorities (5-7 minutes each)</a:t>
            </a:r>
          </a:p>
          <a:p>
            <a:pPr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Discussion</a:t>
            </a:r>
          </a:p>
          <a:p>
            <a:pPr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Closing</a:t>
            </a:r>
          </a:p>
        </p:txBody>
      </p:sp>
    </p:spTree>
    <p:extLst>
      <p:ext uri="{BB962C8B-B14F-4D97-AF65-F5344CB8AC3E}">
        <p14:creationId xmlns:p14="http://schemas.microsoft.com/office/powerpoint/2010/main" val="181555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F410A8-67F5-694D-2AC1-2A4502FFF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1CE38B-FE4D-46F7-D42D-FCDD0DF452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609398"/>
          </a:xfrm>
        </p:spPr>
        <p:txBody>
          <a:bodyPr/>
          <a:lstStyle/>
          <a:p>
            <a:r>
              <a:rPr lang="en-US" sz="4400" b="1" dirty="0"/>
              <a:t>Discus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0B82FC-6F91-4663-3F60-F93A04B2C1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1553498"/>
            <a:ext cx="10933801" cy="4621262"/>
          </a:xfrm>
        </p:spPr>
        <p:txBody>
          <a:bodyPr/>
          <a:lstStyle/>
          <a:p>
            <a:r>
              <a:rPr lang="en-US" sz="3200" dirty="0">
                <a:solidFill>
                  <a:schemeClr val="tx2"/>
                </a:solidFill>
              </a:rPr>
              <a:t>After hearing the priorities, consider:</a:t>
            </a:r>
          </a:p>
          <a:p>
            <a:endParaRPr lang="en-US" sz="3200" b="1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2"/>
                </a:solidFill>
              </a:rPr>
              <a:t>What intersections or common themes do you hear between the shared priorities?</a:t>
            </a:r>
          </a:p>
          <a:p>
            <a:pPr>
              <a:buNone/>
            </a:pPr>
            <a:endParaRPr lang="en-US" sz="32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2"/>
                </a:solidFill>
              </a:rPr>
              <a:t>What stands out to you as particularly meaningful to the NC education continuum that the NC Education Cabinet should focus its work on?</a:t>
            </a:r>
          </a:p>
          <a:p>
            <a:pPr>
              <a:buNone/>
            </a:pP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3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BB656-562F-D40E-71AF-58C4973D8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800" dirty="0"/>
              <a:t>Governor Josh Stein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05BE2F7F-5675-7123-4742-9641A6587C56}"/>
              </a:ext>
            </a:extLst>
          </p:cNvPr>
          <p:cNvSpPr txBox="1">
            <a:spLocks/>
          </p:cNvSpPr>
          <p:nvPr/>
        </p:nvSpPr>
        <p:spPr>
          <a:xfrm>
            <a:off x="4539041" y="442452"/>
            <a:ext cx="6868800" cy="586985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Increase access and affordability of high-quality child care </a:t>
            </a:r>
          </a:p>
          <a:p>
            <a:pPr marL="457200" indent="-457200" fontAlgn="base"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Recruit, support, </a:t>
            </a:r>
            <a:r>
              <a:rPr lang="en-US" sz="3600">
                <a:solidFill>
                  <a:schemeClr val="bg1"/>
                </a:solidFill>
              </a:rPr>
              <a:t>and retain teachers </a:t>
            </a:r>
            <a:r>
              <a:rPr lang="en-US" sz="3600" dirty="0">
                <a:solidFill>
                  <a:schemeClr val="bg1"/>
                </a:solidFill>
              </a:rPr>
              <a:t>and school staff</a:t>
            </a:r>
          </a:p>
          <a:p>
            <a:pPr marL="457200" indent="-457200" fontAlgn="base"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Bolster and align workforce development efforts to ensure career-readiness </a:t>
            </a:r>
          </a:p>
        </p:txBody>
      </p:sp>
    </p:spTree>
    <p:extLst>
      <p:ext uri="{BB962C8B-B14F-4D97-AF65-F5344CB8AC3E}">
        <p14:creationId xmlns:p14="http://schemas.microsoft.com/office/powerpoint/2010/main" val="254770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5AEF3C-318C-5CE4-97B2-4F8C5A3F01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C3F64B-2777-4545-2D6E-091852296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800" dirty="0"/>
              <a:t>DHHS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6D69C66E-D9BA-9878-032E-858EFFCC04B3}"/>
              </a:ext>
            </a:extLst>
          </p:cNvPr>
          <p:cNvSpPr txBox="1">
            <a:spLocks/>
          </p:cNvSpPr>
          <p:nvPr/>
        </p:nvSpPr>
        <p:spPr>
          <a:xfrm>
            <a:off x="4539041" y="442452"/>
            <a:ext cx="6868800" cy="586985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mproving Student Health and Well Being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uilding and Sustaining the Healthcare Workforce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Expanding Access to Early Education </a:t>
            </a:r>
          </a:p>
        </p:txBody>
      </p:sp>
    </p:spTree>
    <p:extLst>
      <p:ext uri="{BB962C8B-B14F-4D97-AF65-F5344CB8AC3E}">
        <p14:creationId xmlns:p14="http://schemas.microsoft.com/office/powerpoint/2010/main" val="92082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2CA0FA-91CF-DB03-7DC1-91EF847BD2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E682CF-0440-D258-320E-1956AB7CD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764203"/>
            <a:ext cx="3342967" cy="1314311"/>
          </a:xfrm>
        </p:spPr>
        <p:txBody>
          <a:bodyPr/>
          <a:lstStyle/>
          <a:p>
            <a:pPr algn="ctr"/>
            <a:r>
              <a:rPr lang="en-US" sz="3600" dirty="0"/>
              <a:t>Superintendent Green </a:t>
            </a:r>
            <a:br>
              <a:rPr lang="en-US" sz="3600" dirty="0"/>
            </a:br>
            <a:r>
              <a:rPr lang="en-US" sz="3600" dirty="0"/>
              <a:t>&amp; </a:t>
            </a:r>
            <a:br>
              <a:rPr lang="en-US" sz="3600" dirty="0"/>
            </a:br>
            <a:r>
              <a:rPr lang="en-US" sz="3600" dirty="0"/>
              <a:t>State Board of Education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3D1647F6-43EC-9D17-87C5-094324A15116}"/>
              </a:ext>
            </a:extLst>
          </p:cNvPr>
          <p:cNvSpPr txBox="1">
            <a:spLocks/>
          </p:cNvSpPr>
          <p:nvPr/>
        </p:nvSpPr>
        <p:spPr>
          <a:xfrm>
            <a:off x="4539041" y="442452"/>
            <a:ext cx="6868800" cy="586985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reparing each student for their next phase of life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Revering Public School Educators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elebrating the Excellence in Public Education &amp; Galvanizing Champions to Fully Invest in and Support Public Education</a:t>
            </a:r>
          </a:p>
        </p:txBody>
      </p:sp>
    </p:spTree>
    <p:extLst>
      <p:ext uri="{BB962C8B-B14F-4D97-AF65-F5344CB8AC3E}">
        <p14:creationId xmlns:p14="http://schemas.microsoft.com/office/powerpoint/2010/main" val="392645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B5BB4-6BE7-15C5-BCBB-C1118198BA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2CE9E-1E81-817D-569E-0560A3CCA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800" dirty="0"/>
              <a:t>NCCCS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510B9D27-B301-14BB-145A-D16FAEDD9F66}"/>
              </a:ext>
            </a:extLst>
          </p:cNvPr>
          <p:cNvSpPr txBox="1">
            <a:spLocks/>
          </p:cNvSpPr>
          <p:nvPr/>
        </p:nvSpPr>
        <p:spPr>
          <a:xfrm>
            <a:off x="4539041" y="442452"/>
            <a:ext cx="6868800" cy="586985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Enrollment Growth and Education Sector Collaboration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orkforce and Economic Development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ata Infrastructure to enhance the student experience and workforce alignment</a:t>
            </a:r>
          </a:p>
        </p:txBody>
      </p:sp>
    </p:spTree>
    <p:extLst>
      <p:ext uri="{BB962C8B-B14F-4D97-AF65-F5344CB8AC3E}">
        <p14:creationId xmlns:p14="http://schemas.microsoft.com/office/powerpoint/2010/main" val="2722779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DF2B72-A6DE-BB96-A08F-A105C19800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12DA2-BCFE-50C0-5862-F86831799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800" dirty="0"/>
              <a:t>UNC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13D0F078-2948-C888-DCD5-E37DD2847544}"/>
              </a:ext>
            </a:extLst>
          </p:cNvPr>
          <p:cNvSpPr txBox="1">
            <a:spLocks/>
          </p:cNvSpPr>
          <p:nvPr/>
        </p:nvSpPr>
        <p:spPr>
          <a:xfrm>
            <a:off x="4539041" y="442452"/>
            <a:ext cx="6868800" cy="586985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Expand Access and Affordability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Advance Student Success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trengthen Economic and Community Impact</a:t>
            </a:r>
          </a:p>
        </p:txBody>
      </p:sp>
    </p:spTree>
    <p:extLst>
      <p:ext uri="{BB962C8B-B14F-4D97-AF65-F5344CB8AC3E}">
        <p14:creationId xmlns:p14="http://schemas.microsoft.com/office/powerpoint/2010/main" val="352043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4EFEF9-F020-0157-9904-33CF2709E4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94F4E-9171-F56A-AA4C-93B526C582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800" dirty="0"/>
              <a:t>NCICU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7CC5D320-CF34-2907-21BF-A1471209D212}"/>
              </a:ext>
            </a:extLst>
          </p:cNvPr>
          <p:cNvSpPr txBox="1">
            <a:spLocks/>
          </p:cNvSpPr>
          <p:nvPr/>
        </p:nvSpPr>
        <p:spPr>
          <a:xfrm>
            <a:off x="4539041" y="442452"/>
            <a:ext cx="6868800" cy="586985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ncrease NC Need Based Scholarship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nclude NCICU Campuses in North Carolina’s Sports Wagering Revenues</a:t>
            </a: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ampaign to keep high school graduates in NC for college &amp; encourage adults to complete their degrees</a:t>
            </a:r>
          </a:p>
        </p:txBody>
      </p:sp>
    </p:spTree>
    <p:extLst>
      <p:ext uri="{BB962C8B-B14F-4D97-AF65-F5344CB8AC3E}">
        <p14:creationId xmlns:p14="http://schemas.microsoft.com/office/powerpoint/2010/main" val="333839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THINKCELLUNDODONOTDELETE" val="0"/>
  <p:tag name="EE4P_STYLE_ID" val="nQz5h968"/>
  <p:tag name="EE4P_STYLE_NAME" val="Development Business Grid 16: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OSH STEIN Governor Grid 16:9">
  <a:themeElements>
    <a:clrScheme name="JOSH STEIN Governor">
      <a:dk1>
        <a:srgbClr val="111111"/>
      </a:dk1>
      <a:lt1>
        <a:sysClr val="window" lastClr="FFFFFF"/>
      </a:lt1>
      <a:dk2>
        <a:srgbClr val="0063AB"/>
      </a:dk2>
      <a:lt2>
        <a:srgbClr val="F2F2F2"/>
      </a:lt2>
      <a:accent1>
        <a:srgbClr val="013154"/>
      </a:accent1>
      <a:accent2>
        <a:srgbClr val="004578"/>
      </a:accent2>
      <a:accent3>
        <a:srgbClr val="FFC000"/>
      </a:accent3>
      <a:accent4>
        <a:srgbClr val="D1E7F3"/>
      </a:accent4>
      <a:accent5>
        <a:srgbClr val="9A9A9A"/>
      </a:accent5>
      <a:accent6>
        <a:srgbClr val="E8111C"/>
      </a:accent6>
      <a:hlink>
        <a:srgbClr val="00B0F0"/>
      </a:hlink>
      <a:folHlink>
        <a:srgbClr val="00B0F0"/>
      </a:folHlink>
    </a:clrScheme>
    <a:fontScheme name="JOSH STEIN Governor">
      <a:majorFont>
        <a:latin typeface="Gotham"/>
        <a:ea typeface=""/>
        <a:cs typeface=""/>
      </a:majorFont>
      <a:minorFont>
        <a:latin typeface="Gotham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20250424_IMPACT Center Overview" id="{306358B3-B6A3-4011-93BB-22A86629D67B}" vid="{FFD720BA-9A3A-4685-86F2-BF349BF2D8D8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a9224ed-93ff-4b68-89f0-caf527b5a7d0" xsi:nil="true"/>
    <lcf76f155ced4ddcb4097134ff3c332f xmlns="7b4d7ac2-8bc9-4b51-aedc-b7b5be7b91ab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E406CD756EDC49A6791F1AFEAA5E8F" ma:contentTypeVersion="12" ma:contentTypeDescription="Create a new document." ma:contentTypeScope="" ma:versionID="76ce2f3c44c399753e2921c2c76f7b28">
  <xsd:schema xmlns:xsd="http://www.w3.org/2001/XMLSchema" xmlns:xs="http://www.w3.org/2001/XMLSchema" xmlns:p="http://schemas.microsoft.com/office/2006/metadata/properties" xmlns:ns2="7b4d7ac2-8bc9-4b51-aedc-b7b5be7b91ab" xmlns:ns3="6a9224ed-93ff-4b68-89f0-caf527b5a7d0" targetNamespace="http://schemas.microsoft.com/office/2006/metadata/properties" ma:root="true" ma:fieldsID="0df3da37e37378e7499abf0ac9dca3b1" ns2:_="" ns3:_="">
    <xsd:import namespace="7b4d7ac2-8bc9-4b51-aedc-b7b5be7b91ab"/>
    <xsd:import namespace="6a9224ed-93ff-4b68-89f0-caf527b5a7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4d7ac2-8bc9-4b51-aedc-b7b5be7b91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da2157d8-ccc1-4fc8-a2a4-3f8f6553454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9224ed-93ff-4b68-89f0-caf527b5a7d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c93d737-3271-47db-a903-8ac17462ea89}" ma:internalName="TaxCatchAll" ma:showField="CatchAllData" ma:web="6a9224ed-93ff-4b68-89f0-caf527b5a7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E0D61B-886A-4DDB-ACF4-273276339355}">
  <ds:schemaRefs>
    <ds:schemaRef ds:uri="http://schemas.microsoft.com/office/2006/documentManagement/types"/>
    <ds:schemaRef ds:uri="6a9224ed-93ff-4b68-89f0-caf527b5a7d0"/>
    <ds:schemaRef ds:uri="http://purl.org/dc/terms/"/>
    <ds:schemaRef ds:uri="http://purl.org/dc/elements/1.1/"/>
    <ds:schemaRef ds:uri="http://purl.org/dc/dcmitype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7b4d7ac2-8bc9-4b51-aedc-b7b5be7b91ab"/>
  </ds:schemaRefs>
</ds:datastoreItem>
</file>

<file path=customXml/itemProps2.xml><?xml version="1.0" encoding="utf-8"?>
<ds:datastoreItem xmlns:ds="http://schemas.openxmlformats.org/officeDocument/2006/customXml" ds:itemID="{266300C5-7F71-498C-96A8-11C031BBDB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7403AC9-270C-439B-B0F4-83DC08FFE9C1}">
  <ds:schemaRefs>
    <ds:schemaRef ds:uri="6a9224ed-93ff-4b68-89f0-caf527b5a7d0"/>
    <ds:schemaRef ds:uri="7b4d7ac2-8bc9-4b51-aedc-b7b5be7b91a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and Template</Template>
  <TotalTime>138</TotalTime>
  <Words>364</Words>
  <Application>Microsoft Office PowerPoint</Application>
  <PresentationFormat>Widescreen</PresentationFormat>
  <Paragraphs>76</Paragraphs>
  <Slides>13</Slides>
  <Notes>0</Notes>
  <HiddenSlides>0</HiddenSlides>
  <MMClips>0</MMClips>
  <ScaleCrop>false</ScaleCrop>
  <HeadingPairs>
    <vt:vector size="10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  <vt:variant>
        <vt:lpstr>Custom Shows</vt:lpstr>
      </vt:variant>
      <vt:variant>
        <vt:i4>1</vt:i4>
      </vt:variant>
    </vt:vector>
  </HeadingPairs>
  <TitlesOfParts>
    <vt:vector size="19" baseType="lpstr">
      <vt:lpstr>Arial</vt:lpstr>
      <vt:lpstr>Gotham</vt:lpstr>
      <vt:lpstr>Trebuchet MS</vt:lpstr>
      <vt:lpstr>JOSH STEIN Governor Grid 16:9</vt:lpstr>
      <vt:lpstr>think-cell Slide</vt:lpstr>
      <vt:lpstr>North Carolina Education Cabinet October 14, 2025</vt:lpstr>
      <vt:lpstr>Agenda &amp; Desired Outcomes</vt:lpstr>
      <vt:lpstr>Discussion</vt:lpstr>
      <vt:lpstr>Governor Josh Stein</vt:lpstr>
      <vt:lpstr>DHHS</vt:lpstr>
      <vt:lpstr>Superintendent Green  &amp;  State Board of Education</vt:lpstr>
      <vt:lpstr>NCCCS</vt:lpstr>
      <vt:lpstr>UNC</vt:lpstr>
      <vt:lpstr>NCICU</vt:lpstr>
      <vt:lpstr>Department of Commerce</vt:lpstr>
      <vt:lpstr>Cabinet Members &amp;  Legislators Discussion</vt:lpstr>
      <vt:lpstr>Discussion</vt:lpstr>
      <vt:lpstr>PowerPoint Presentation</vt:lpstr>
      <vt:lpstr>Format Guide Worksho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eaner, Alfie</dc:creator>
  <cp:lastModifiedBy>Ashburn, Elena</cp:lastModifiedBy>
  <cp:revision>2</cp:revision>
  <cp:lastPrinted>2025-02-05T17:23:10Z</cp:lastPrinted>
  <dcterms:created xsi:type="dcterms:W3CDTF">2025-09-19T15:31:07Z</dcterms:created>
  <dcterms:modified xsi:type="dcterms:W3CDTF">2025-10-09T12:1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4-10-29T14:52:31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91d76ac4-5713-4246-ab66-e122011b0e0b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ContentTypeId">
    <vt:lpwstr>0x01010051E406CD756EDC49A6791F1AFEAA5E8F</vt:lpwstr>
  </property>
  <property fmtid="{D5CDD505-2E9C-101B-9397-08002B2CF9AE}" pid="15" name="MediaServiceImageTags">
    <vt:lpwstr/>
  </property>
</Properties>
</file>